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110" d="100"/>
          <a:sy n="110" d="100"/>
        </p:scale>
        <p:origin x="59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5/1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l-GR" sz="3600" b="1" dirty="0">
                <a:solidFill>
                  <a:schemeClr val="bg1"/>
                </a:solidFill>
                <a:latin typeface="+mn-lt"/>
              </a:rPr>
              <a:t>0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5.11.202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5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</a:t>
            </a:r>
            <a:r>
              <a:rPr lang="el-GR" dirty="0"/>
              <a:t>9,4</a:t>
            </a:r>
            <a:r>
              <a:rPr lang="en-US" dirty="0"/>
              <a:t> </a:t>
            </a:r>
            <a:r>
              <a:rPr lang="el-GR" dirty="0"/>
              <a:t>δις ΜΕ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416,4 εκ. με 6.120 οφειλέτες για τον Σεπτέμβρι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Σεπ 2025)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BF5345C2-0D5E-4EE8-A2A2-D7C820EA1A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5055" y="1056706"/>
            <a:ext cx="4616195" cy="2591351"/>
          </a:xfrm>
          <a:prstGeom prst="rect">
            <a:avLst/>
          </a:prstGeom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id="{5D0214D1-3A88-4B46-8D08-8149F02DCC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5207" y="3844039"/>
            <a:ext cx="9094970" cy="259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5</a:t>
            </a:r>
            <a:r>
              <a:rPr lang="en-US" dirty="0"/>
              <a:t>1</a:t>
            </a:r>
            <a:r>
              <a:rPr lang="el-GR" dirty="0"/>
              <a:t>% των ρυθμίσεων (σε ποσά</a:t>
            </a:r>
            <a:r>
              <a:rPr lang="en-US" dirty="0"/>
              <a:t>) </a:t>
            </a:r>
            <a:r>
              <a:rPr lang="el-GR" dirty="0"/>
              <a:t>αφορά οφειλές στεγαστικών δανεί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εγαστικά στην πλειοψηφία για </a:t>
            </a:r>
            <a:r>
              <a:rPr lang="en-US" dirty="0" err="1"/>
              <a:t>Cepal</a:t>
            </a:r>
            <a:r>
              <a:rPr lang="el-GR" dirty="0"/>
              <a:t>, </a:t>
            </a:r>
            <a:r>
              <a:rPr lang="en-US" dirty="0" err="1"/>
              <a:t>DoValue</a:t>
            </a:r>
            <a:r>
              <a:rPr lang="el-GR" dirty="0"/>
              <a:t>, </a:t>
            </a:r>
            <a:r>
              <a:rPr lang="en-US" dirty="0"/>
              <a:t>QQuant </a:t>
            </a:r>
            <a:endParaRPr lang="el-G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/>
              <a:t>Μικρομεσαίων επιχειρήσεων </a:t>
            </a:r>
            <a:r>
              <a:rPr lang="el-GR" dirty="0"/>
              <a:t>για </a:t>
            </a:r>
            <a:r>
              <a:rPr lang="en-US" dirty="0" err="1"/>
              <a:t>Intrum</a:t>
            </a:r>
            <a:endParaRPr lang="el-GR" dirty="0"/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Σεπ 2025)</a:t>
            </a: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id="{BB6A51A9-7651-49FD-BD25-792B826F93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5043" y="1230034"/>
            <a:ext cx="9112939" cy="520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33</TotalTime>
  <Words>127</Words>
  <Application>Microsoft Office PowerPoint</Application>
  <PresentationFormat>Ευρεία οθόνη</PresentationFormat>
  <Paragraphs>14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05.11.2025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Christina Katopodi</cp:lastModifiedBy>
  <cp:revision>98</cp:revision>
  <dcterms:created xsi:type="dcterms:W3CDTF">2024-06-03T14:29:32Z</dcterms:created>
  <dcterms:modified xsi:type="dcterms:W3CDTF">2025-11-05T12:08:36Z</dcterms:modified>
</cp:coreProperties>
</file>